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804" r:id="rId1"/>
    <p:sldMasterId id="2147483849" r:id="rId2"/>
    <p:sldMasterId id="2147483872" r:id="rId3"/>
    <p:sldMasterId id="2147483884" r:id="rId4"/>
  </p:sldMasterIdLst>
  <p:notesMasterIdLst>
    <p:notesMasterId r:id="rId32"/>
  </p:notesMasterIdLst>
  <p:handoutMasterIdLst>
    <p:handoutMasterId r:id="rId33"/>
  </p:handoutMasterIdLst>
  <p:sldIdLst>
    <p:sldId id="421" r:id="rId5"/>
    <p:sldId id="422" r:id="rId6"/>
    <p:sldId id="386" r:id="rId7"/>
    <p:sldId id="395" r:id="rId8"/>
    <p:sldId id="417" r:id="rId9"/>
    <p:sldId id="415" r:id="rId10"/>
    <p:sldId id="387" r:id="rId11"/>
    <p:sldId id="414" r:id="rId12"/>
    <p:sldId id="416" r:id="rId13"/>
    <p:sldId id="418" r:id="rId14"/>
    <p:sldId id="396" r:id="rId15"/>
    <p:sldId id="389" r:id="rId16"/>
    <p:sldId id="419" r:id="rId17"/>
    <p:sldId id="420" r:id="rId18"/>
    <p:sldId id="406" r:id="rId19"/>
    <p:sldId id="407" r:id="rId20"/>
    <p:sldId id="408" r:id="rId21"/>
    <p:sldId id="409" r:id="rId22"/>
    <p:sldId id="410" r:id="rId23"/>
    <p:sldId id="398" r:id="rId24"/>
    <p:sldId id="397" r:id="rId25"/>
    <p:sldId id="412" r:id="rId26"/>
    <p:sldId id="401" r:id="rId27"/>
    <p:sldId id="411" r:id="rId28"/>
    <p:sldId id="392" r:id="rId29"/>
    <p:sldId id="391" r:id="rId30"/>
    <p:sldId id="336" r:id="rId3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Futura Hv" panose="020B0702020204020204" charset="0"/>
      <p:regular r:id="rId38"/>
    </p:embeddedFont>
    <p:embeddedFont>
      <p:font typeface="Lucida Grande" panose="020B0604020202020204" charset="0"/>
      <p:regular r:id="rId39"/>
      <p:bold r:id="rId40"/>
      <p:italic r:id="rId41"/>
      <p:boldItalic r:id="rId42"/>
    </p:embeddedFont>
    <p:embeddedFont>
      <p:font typeface="Tahoma" panose="020B0604030504040204" pitchFamily="34" charset="0"/>
      <p:regular r:id="rId43"/>
      <p:bold r:id="rId44"/>
    </p:embeddedFont>
    <p:embeddedFont>
      <p:font typeface="HP Simplified" panose="020B0604020202020204" charset="0"/>
      <p:regular r:id="rId45"/>
      <p:bold r:id="rId46"/>
      <p:italic r:id="rId47"/>
      <p:boldItalic r:id="rId48"/>
    </p:embeddedFont>
    <p:embeddedFont>
      <p:font typeface="Futura Bk" panose="020B0502020204020303" charset="0"/>
      <p:regular r:id="rId49"/>
      <p:bold r:id="rId50"/>
      <p:italic r:id="rId51"/>
    </p:embeddedFont>
  </p:embeddedFontLst>
  <p:custDataLst>
    <p:tags r:id="rId5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ikh, Bhooshan (Global Analytics)" initials="PB(A" lastIdx="7" clrIdx="0">
    <p:extLst/>
  </p:cmAuthor>
  <p:cmAuthor id="2" name="Jackson, James (Enterprise Marketing)" initials="JJ(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4EE"/>
    <a:srgbClr val="1098D2"/>
    <a:srgbClr val="0C559A"/>
    <a:srgbClr val="1A5D9D"/>
    <a:srgbClr val="0D5297"/>
    <a:srgbClr val="37C1FF"/>
    <a:srgbClr val="01B0FF"/>
    <a:srgbClr val="FAAF3A"/>
    <a:srgbClr val="FFFFFF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97" autoAdjust="0"/>
    <p:restoredTop sz="94434" autoAdjust="0"/>
  </p:normalViewPr>
  <p:slideViewPr>
    <p:cSldViewPr snapToGrid="0">
      <p:cViewPr varScale="1">
        <p:scale>
          <a:sx n="98" d="100"/>
          <a:sy n="98" d="100"/>
        </p:scale>
        <p:origin x="438" y="72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54" d="100"/>
          <a:sy n="54" d="100"/>
        </p:scale>
        <p:origin x="282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6.fntdata"/><Relationship Id="rId21" Type="http://schemas.openxmlformats.org/officeDocument/2006/relationships/slide" Target="slides/slide17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commentAuthors" Target="commentAuthor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font" Target="fonts/font18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0" Type="http://schemas.openxmlformats.org/officeDocument/2006/relationships/slide" Target="slides/slide16.xml"/><Relationship Id="rId41" Type="http://schemas.openxmlformats.org/officeDocument/2006/relationships/font" Target="fonts/font8.fntdata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11.fntdata"/><Relationship Id="rId5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C9A3B4-41A9-4CE9-92B8-D7EA77665ADE}" type="doc">
      <dgm:prSet loTypeId="urn:microsoft.com/office/officeart/2005/8/layout/list1" loCatId="list" qsTypeId="urn:microsoft.com/office/officeart/2005/8/quickstyle/simple3" qsCatId="simple" csTypeId="urn:microsoft.com/office/officeart/2005/8/colors/accent6_1" csCatId="accent6" phldr="1"/>
      <dgm:spPr/>
      <dgm:t>
        <a:bodyPr/>
        <a:lstStyle/>
        <a:p>
          <a:endParaRPr lang="en-US"/>
        </a:p>
      </dgm:t>
    </dgm:pt>
    <dgm:pt modelId="{E0C4147E-5466-4ACF-82F3-40FF2B9FCF52}">
      <dgm:prSet custT="1"/>
      <dgm:spPr/>
      <dgm:t>
        <a:bodyPr/>
        <a:lstStyle/>
        <a:p>
          <a:pPr rtl="0"/>
          <a:r>
            <a: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GitHub is a </a:t>
          </a:r>
          <a:r>
            <a: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web-based</a:t>
          </a:r>
          <a:r>
            <a: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 Git repository hosting service with more than 28 million repos</a:t>
          </a:r>
        </a:p>
        <a:p>
          <a:pPr rtl="0"/>
          <a:endParaRPr lang="en-US" sz="1600" dirty="0" smtClean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rtl="0"/>
          <a:r>
            <a: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vides </a:t>
          </a:r>
          <a:r>
            <a: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features like </a:t>
          </a:r>
          <a:r>
            <a:rPr lang="en-US" sz="1600" b="1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ode Comparison</a:t>
          </a:r>
          <a:r>
            <a: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 </a:t>
          </a:r>
          <a:r>
            <a:rPr lang="en-US" sz="1600" b="1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Code Sync </a:t>
          </a:r>
          <a:r>
            <a: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and </a:t>
          </a:r>
          <a:r>
            <a:rPr lang="en-US" sz="1600" b="1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Git shell</a:t>
          </a:r>
          <a:endParaRPr lang="en-US" sz="1600" dirty="0">
            <a:solidFill>
              <a:srgbClr val="00B0F0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F29E833-ED15-4E53-B7D9-EA444B8B1297}" type="parTrans" cxnId="{332CECF5-45ED-4FF4-B565-080776245884}">
      <dgm:prSet/>
      <dgm:spPr/>
      <dgm:t>
        <a:bodyPr/>
        <a:lstStyle/>
        <a:p>
          <a:endParaRPr lang="en-US" sz="1600"/>
        </a:p>
      </dgm:t>
    </dgm:pt>
    <dgm:pt modelId="{967D512E-8B6D-4184-98B7-4C536E28E8D9}" type="sibTrans" cxnId="{332CECF5-45ED-4FF4-B565-080776245884}">
      <dgm:prSet/>
      <dgm:spPr/>
      <dgm:t>
        <a:bodyPr/>
        <a:lstStyle/>
        <a:p>
          <a:endParaRPr lang="en-US" sz="1600"/>
        </a:p>
      </dgm:t>
    </dgm:pt>
    <dgm:pt modelId="{5C12DDD4-A6E7-4FF4-93D4-8585E5424703}" type="pres">
      <dgm:prSet presAssocID="{0BC9A3B4-41A9-4CE9-92B8-D7EA77665AD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C4E6AE-A2D0-4BDD-B1AB-A3925A4D1991}" type="pres">
      <dgm:prSet presAssocID="{E0C4147E-5466-4ACF-82F3-40FF2B9FCF52}" presName="parentLin" presStyleCnt="0"/>
      <dgm:spPr/>
      <dgm:t>
        <a:bodyPr/>
        <a:lstStyle/>
        <a:p>
          <a:endParaRPr lang="en-US"/>
        </a:p>
      </dgm:t>
    </dgm:pt>
    <dgm:pt modelId="{10A2F9CC-988B-4108-8B1E-9081D5B6679A}" type="pres">
      <dgm:prSet presAssocID="{E0C4147E-5466-4ACF-82F3-40FF2B9FCF52}" presName="parentLeftMargin" presStyleLbl="node1" presStyleIdx="0" presStyleCnt="1"/>
      <dgm:spPr/>
      <dgm:t>
        <a:bodyPr/>
        <a:lstStyle/>
        <a:p>
          <a:endParaRPr lang="en-US"/>
        </a:p>
      </dgm:t>
    </dgm:pt>
    <dgm:pt modelId="{6E4871D1-A118-4A40-87AD-172D8DFCF685}" type="pres">
      <dgm:prSet presAssocID="{E0C4147E-5466-4ACF-82F3-40FF2B9FCF52}" presName="parentText" presStyleLbl="node1" presStyleIdx="0" presStyleCnt="1" custScaleX="668223" custLinFactNeighborX="-4355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A0A3E6-6A11-4FB2-81A7-6FA085A3D7ED}" type="pres">
      <dgm:prSet presAssocID="{E0C4147E-5466-4ACF-82F3-40FF2B9FCF52}" presName="negativeSpace" presStyleCnt="0"/>
      <dgm:spPr/>
      <dgm:t>
        <a:bodyPr/>
        <a:lstStyle/>
        <a:p>
          <a:endParaRPr lang="en-US"/>
        </a:p>
      </dgm:t>
    </dgm:pt>
    <dgm:pt modelId="{06837484-6C00-4A88-9FAE-9052C36DB634}" type="pres">
      <dgm:prSet presAssocID="{E0C4147E-5466-4ACF-82F3-40FF2B9FCF52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7CB0AFE-206E-45E4-A01F-BF9389521A07}" type="presOf" srcId="{E0C4147E-5466-4ACF-82F3-40FF2B9FCF52}" destId="{10A2F9CC-988B-4108-8B1E-9081D5B6679A}" srcOrd="0" destOrd="0" presId="urn:microsoft.com/office/officeart/2005/8/layout/list1"/>
    <dgm:cxn modelId="{935C171C-E984-4E10-9E26-651E8E76DD8F}" type="presOf" srcId="{0BC9A3B4-41A9-4CE9-92B8-D7EA77665ADE}" destId="{5C12DDD4-A6E7-4FF4-93D4-8585E5424703}" srcOrd="0" destOrd="0" presId="urn:microsoft.com/office/officeart/2005/8/layout/list1"/>
    <dgm:cxn modelId="{332CECF5-45ED-4FF4-B565-080776245884}" srcId="{0BC9A3B4-41A9-4CE9-92B8-D7EA77665ADE}" destId="{E0C4147E-5466-4ACF-82F3-40FF2B9FCF52}" srcOrd="0" destOrd="0" parTransId="{6F29E833-ED15-4E53-B7D9-EA444B8B1297}" sibTransId="{967D512E-8B6D-4184-98B7-4C536E28E8D9}"/>
    <dgm:cxn modelId="{73F1102C-D271-4F2D-B819-14E7E14B4039}" type="presOf" srcId="{E0C4147E-5466-4ACF-82F3-40FF2B9FCF52}" destId="{6E4871D1-A118-4A40-87AD-172D8DFCF685}" srcOrd="1" destOrd="0" presId="urn:microsoft.com/office/officeart/2005/8/layout/list1"/>
    <dgm:cxn modelId="{1502AAB2-5A8A-45B6-9616-D2BBAAF80A2C}" type="presParOf" srcId="{5C12DDD4-A6E7-4FF4-93D4-8585E5424703}" destId="{3DC4E6AE-A2D0-4BDD-B1AB-A3925A4D1991}" srcOrd="0" destOrd="0" presId="urn:microsoft.com/office/officeart/2005/8/layout/list1"/>
    <dgm:cxn modelId="{9D0EF943-EB08-4083-9F67-FC1EBE629A80}" type="presParOf" srcId="{3DC4E6AE-A2D0-4BDD-B1AB-A3925A4D1991}" destId="{10A2F9CC-988B-4108-8B1E-9081D5B6679A}" srcOrd="0" destOrd="0" presId="urn:microsoft.com/office/officeart/2005/8/layout/list1"/>
    <dgm:cxn modelId="{42E07DB8-FEF7-45FF-8F6E-8F92C74CA589}" type="presParOf" srcId="{3DC4E6AE-A2D0-4BDD-B1AB-A3925A4D1991}" destId="{6E4871D1-A118-4A40-87AD-172D8DFCF685}" srcOrd="1" destOrd="0" presId="urn:microsoft.com/office/officeart/2005/8/layout/list1"/>
    <dgm:cxn modelId="{C0B6A51F-7F59-471A-A177-BF2DF6835F88}" type="presParOf" srcId="{5C12DDD4-A6E7-4FF4-93D4-8585E5424703}" destId="{E3A0A3E6-6A11-4FB2-81A7-6FA085A3D7ED}" srcOrd="1" destOrd="0" presId="urn:microsoft.com/office/officeart/2005/8/layout/list1"/>
    <dgm:cxn modelId="{2432E4C6-F9F7-41EC-8698-4270818FE224}" type="presParOf" srcId="{5C12DDD4-A6E7-4FF4-93D4-8585E5424703}" destId="{06837484-6C00-4A88-9FAE-9052C36DB634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10/14/2015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10/14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851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131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8247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044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094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6533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447" y="140826"/>
            <a:ext cx="1361952" cy="23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710953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692203" y="4804946"/>
            <a:ext cx="24517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chemeClr val="bg1"/>
                </a:solidFill>
                <a:cs typeface="HP Simplified" pitchFamily="34" charset="0"/>
              </a:rPr>
              <a:t>www.edureka.co/git-github</a:t>
            </a:r>
          </a:p>
        </p:txBody>
      </p:sp>
    </p:spTree>
    <p:extLst>
      <p:ext uri="{BB962C8B-B14F-4D97-AF65-F5344CB8AC3E}">
        <p14:creationId xmlns:p14="http://schemas.microsoft.com/office/powerpoint/2010/main" val="172015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2518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0370" cy="5143500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-3630" y="63782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197865"/>
            <a:ext cx="1399491" cy="242106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3" y="96838"/>
            <a:ext cx="7239000" cy="442912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3369" y="1078430"/>
            <a:ext cx="8278244" cy="3191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Rectangle 15"/>
          <p:cNvSpPr>
            <a:spLocks/>
          </p:cNvSpPr>
          <p:nvPr userDrawn="1"/>
        </p:nvSpPr>
        <p:spPr>
          <a:xfrm>
            <a:off x="0" y="4533499"/>
            <a:ext cx="9144000" cy="432547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438775" y="4611000"/>
            <a:ext cx="3473450" cy="288925"/>
          </a:xfrm>
        </p:spPr>
        <p:txBody>
          <a:bodyPr/>
          <a:lstStyle>
            <a:lvl1pPr algn="r"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urse link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61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65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682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088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1850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640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7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7169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761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4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3586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1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7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592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304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>
              <a:defRPr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>
              <a:defRPr>
                <a:solidFill>
                  <a:srgbClr val="000000"/>
                </a:solidFill>
                <a:latin typeface="+mn-lt"/>
              </a:defRPr>
            </a:lvl3pPr>
            <a:lvl4pPr>
              <a:defRPr>
                <a:solidFill>
                  <a:srgbClr val="000000"/>
                </a:solidFill>
                <a:latin typeface="+mn-lt"/>
              </a:defRPr>
            </a:lvl4pPr>
            <a:lvl5pPr>
              <a:defRPr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97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890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264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9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015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562356"/>
            <a:ext cx="4019316" cy="37702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4" y="270149"/>
            <a:ext cx="4013649" cy="777136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309879"/>
            <a:ext cx="5537932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3" y="1309879"/>
            <a:ext cx="2542125" cy="298102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  <a:cs typeface="Futura Hv"/>
              </a:defRPr>
            </a:lvl1pPr>
            <a:lvl2pPr marL="0" indent="0">
              <a:buNone/>
              <a:defRPr>
                <a:latin typeface="+mn-lt"/>
                <a:cs typeface="Futura Hv"/>
              </a:defRPr>
            </a:lvl2pPr>
            <a:lvl3pPr marL="165600" indent="-165600">
              <a:buFont typeface="Lucida Grande"/>
              <a:buChar char="•"/>
              <a:defRPr sz="1800">
                <a:latin typeface="+mn-lt"/>
              </a:defRPr>
            </a:lvl3pPr>
            <a:lvl4pPr marL="298800" indent="-126000">
              <a:buSzPct val="100000"/>
              <a:buFont typeface="Lucida Grande"/>
              <a:buChar char="–"/>
              <a:defRPr>
                <a:latin typeface="+mn-lt"/>
              </a:defRPr>
            </a:lvl4pPr>
            <a:lvl5pPr marL="410400" indent="-122400">
              <a:buSzPct val="80000"/>
              <a:buFont typeface="Courier New"/>
              <a:buChar char="o"/>
              <a:defRPr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4746601"/>
            <a:ext cx="182186" cy="12482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/>
              <a:pPr marL="190800" indent="-190800">
                <a:lnSpc>
                  <a:spcPts val="1000"/>
                </a:lnSpc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rgbClr val="000000"/>
                </a:solidFill>
                <a:latin typeface="+mn-lt"/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  <a:latin typeface="+mn-lt"/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1087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11660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8" r:id="rId6"/>
    <p:sldLayoutId id="2147483823" r:id="rId7"/>
    <p:sldLayoutId id="2147483824" r:id="rId8"/>
    <p:sldLayoutId id="2147483825" r:id="rId9"/>
    <p:sldLayoutId id="2147483895" r:id="rId10"/>
    <p:sldLayoutId id="214748389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80718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5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42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n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n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n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8305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5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31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+mj-lt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+mj-lt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+mj-lt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+mj-lt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403" y="247400"/>
            <a:ext cx="1612068" cy="2776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419" y="388961"/>
            <a:ext cx="3372492" cy="337249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4685016"/>
            <a:ext cx="9144000" cy="4584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4037743" y="914402"/>
            <a:ext cx="4900773" cy="259936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3600" b="1" dirty="0"/>
              <a:t>Know the Science behind </a:t>
            </a:r>
            <a:r>
              <a:rPr lang="en-US" sz="3600" b="1" dirty="0" smtClean="0"/>
              <a:t>Workflows </a:t>
            </a:r>
            <a:r>
              <a:rPr lang="en-US" sz="3600" b="1" dirty="0"/>
              <a:t>using </a:t>
            </a:r>
            <a:endParaRPr lang="en-US" sz="3600" b="1" dirty="0" smtClean="0"/>
          </a:p>
          <a:p>
            <a:pPr algn="ctr"/>
            <a:r>
              <a:rPr lang="en-US" sz="3600" b="1" dirty="0" smtClean="0"/>
              <a:t>Git </a:t>
            </a:r>
            <a:r>
              <a:rPr lang="en-US" sz="3600" b="1" dirty="0"/>
              <a:t>&amp; </a:t>
            </a:r>
            <a:r>
              <a:rPr lang="en-US" sz="3600" b="1" dirty="0" smtClean="0"/>
              <a:t>GitHub</a:t>
            </a:r>
            <a:endParaRPr lang="en-US" sz="3600" b="1" dirty="0"/>
          </a:p>
        </p:txBody>
      </p:sp>
      <p:sp>
        <p:nvSpPr>
          <p:cNvPr id="6" name="Rounded Rectangle 5"/>
          <p:cNvSpPr/>
          <p:nvPr/>
        </p:nvSpPr>
        <p:spPr>
          <a:xfrm>
            <a:off x="2989780" y="4017196"/>
            <a:ext cx="3267182" cy="380143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esenter Name : Prithviraj Bose 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96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raditional Tools for Version Contro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600" u="sng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n Sou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V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V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b="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600" u="sng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prietar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BM Rational ClearCas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for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250988" y="1303505"/>
            <a:ext cx="18498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Client-Server Mod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60716" y="1697857"/>
            <a:ext cx="18498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Client-Server Mod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260716" y="2468695"/>
            <a:ext cx="18498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Client-Server Mod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60716" y="2823155"/>
            <a:ext cx="18498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Client-Server Model</a:t>
            </a:r>
          </a:p>
        </p:txBody>
      </p:sp>
    </p:spTree>
    <p:extLst>
      <p:ext uri="{BB962C8B-B14F-4D97-AF65-F5344CB8AC3E}">
        <p14:creationId xmlns:p14="http://schemas.microsoft.com/office/powerpoint/2010/main" val="117984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Problem with Client Server Mod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45275" y="932515"/>
            <a:ext cx="7592495" cy="3191082"/>
          </a:xfrm>
        </p:spPr>
        <p:txBody>
          <a:bodyPr/>
          <a:lstStyle/>
          <a:p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ient-Server version control systems </a:t>
            </a:r>
            <a:r>
              <a:rPr lang="en-US" sz="16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 on a </a:t>
            </a:r>
            <a:r>
              <a:rPr lang="en-US" sz="1600" b="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ralized model </a:t>
            </a: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has a</a:t>
            </a:r>
            <a:r>
              <a:rPr lang="en-US" sz="1600" b="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ingle repository </a:t>
            </a: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which </a:t>
            </a:r>
            <a:r>
              <a:rPr lang="en-US" sz="1600" b="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s check-in and check-out</a:t>
            </a:r>
          </a:p>
          <a:p>
            <a:endParaRPr lang="en-US" sz="1600" b="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274" y="2274072"/>
            <a:ext cx="3210373" cy="228631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38270" y="1740558"/>
            <a:ext cx="7592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dirty="0" smtClean="0">
                <a:solidFill>
                  <a:srgbClr val="000000"/>
                </a:solidFill>
                <a:cs typeface="HP Simplified" pitchFamily="34" charset="0"/>
              </a:rPr>
              <a:t>Some of the major benefits of using a Version Control System are listed below 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5275" y="2230042"/>
            <a:ext cx="5379999" cy="9335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defTabSz="430213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Version Control is not available on local systems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If the central server 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gets corrupted </a:t>
            </a: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the entire history is lost</a:t>
            </a:r>
          </a:p>
          <a:p>
            <a:pPr defTabSz="430213">
              <a:spcAft>
                <a:spcPts val="400"/>
              </a:spcAft>
              <a:buSzPct val="100000"/>
            </a:pPr>
            <a:endParaRPr lang="en-US" sz="1600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27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270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hat’s the Solution ?</a:t>
            </a:r>
            <a:endParaRPr lang="en-US" sz="6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40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stributed Version Contro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45275" y="932515"/>
            <a:ext cx="7903780" cy="3191082"/>
          </a:xfrm>
        </p:spPr>
        <p:txBody>
          <a:bodyPr/>
          <a:lstStyle/>
          <a:p>
            <a:r>
              <a:rPr lang="en-US" sz="1600" b="0" dirty="0">
                <a:solidFill>
                  <a:srgbClr val="00A4E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tributed Version Control Systems </a:t>
            </a:r>
            <a:r>
              <a:rPr lang="en-US" sz="1600" b="0" dirty="0" smtClean="0">
                <a:solidFill>
                  <a:srgbClr val="00A4E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DVCS) </a:t>
            </a: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n’t </a:t>
            </a:r>
            <a:r>
              <a:rPr lang="en-US" sz="16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ly on a central </a:t>
            </a:r>
            <a:r>
              <a:rPr lang="en-US" sz="1600" b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er. It </a:t>
            </a:r>
            <a:r>
              <a:rPr lang="en-US" sz="16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ows one to clone the repository on their own hard drive with entire history of the project</a:t>
            </a:r>
            <a:endParaRPr lang="en-US" sz="1600" b="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270" y="1740558"/>
            <a:ext cx="7592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dirty="0" smtClean="0">
                <a:solidFill>
                  <a:srgbClr val="000000"/>
                </a:solidFill>
                <a:cs typeface="HP Simplified" pitchFamily="34" charset="0"/>
              </a:rPr>
              <a:t>Benefits of using a Distributed Version Control System are listed below 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5276" y="2230042"/>
            <a:ext cx="61138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30213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With DVCS </a:t>
            </a:r>
            <a:r>
              <a:rPr lang="en-US" sz="1600" dirty="0" smtClean="0">
                <a:solidFill>
                  <a:srgbClr val="00A4EE"/>
                </a:solidFill>
                <a:cs typeface="HP Simplified" pitchFamily="34" charset="0"/>
              </a:rPr>
              <a:t>version </a:t>
            </a:r>
            <a:r>
              <a:rPr lang="en-US" sz="1600" dirty="0">
                <a:solidFill>
                  <a:srgbClr val="00A4EE"/>
                </a:solidFill>
                <a:cs typeface="HP Simplified" pitchFamily="34" charset="0"/>
              </a:rPr>
              <a:t>c</a:t>
            </a:r>
            <a:r>
              <a:rPr lang="en-US" sz="1600" dirty="0" smtClean="0">
                <a:solidFill>
                  <a:srgbClr val="00A4EE"/>
                </a:solidFill>
                <a:cs typeface="HP Simplified" pitchFamily="34" charset="0"/>
              </a:rPr>
              <a:t>ontrol 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is also </a:t>
            </a:r>
            <a:r>
              <a:rPr lang="en-US" sz="1600" dirty="0" smtClean="0">
                <a:solidFill>
                  <a:srgbClr val="00A4EE"/>
                </a:solidFill>
                <a:cs typeface="HP Simplified" pitchFamily="34" charset="0"/>
              </a:rPr>
              <a:t>available on local systems</a:t>
            </a:r>
          </a:p>
          <a:p>
            <a:pPr marL="285750" indent="-285750" defTabSz="430213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A4EE"/>
                </a:solidFill>
                <a:cs typeface="HP Simplified" pitchFamily="34" charset="0"/>
              </a:rPr>
              <a:t>No single point of failure 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as each user have the repository with entire history</a:t>
            </a: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Allows you to </a:t>
            </a:r>
            <a:r>
              <a:rPr lang="en-US" sz="1600" dirty="0">
                <a:solidFill>
                  <a:srgbClr val="00A4EE"/>
                </a:solidFill>
                <a:cs typeface="HP Simplified" pitchFamily="34" charset="0"/>
              </a:rPr>
              <a:t>perform all actions locally</a:t>
            </a: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, even when not connected to Internet</a:t>
            </a:r>
            <a:endParaRPr lang="en-US" sz="1600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039" y="2230042"/>
            <a:ext cx="2713257" cy="208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43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270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Welcome to Git</a:t>
            </a:r>
            <a:endParaRPr lang="en-US" sz="6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43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Git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IN" dirty="0" smtClean="0"/>
              <a:t>Initially developed by Linus Torvalds, Git is a </a:t>
            </a:r>
            <a:r>
              <a:rPr lang="en-IN" dirty="0" smtClean="0">
                <a:solidFill>
                  <a:srgbClr val="00A4EE"/>
                </a:solidFill>
              </a:rPr>
              <a:t>distributed version control system</a:t>
            </a:r>
            <a:endParaRPr lang="en-IN" dirty="0" smtClean="0"/>
          </a:p>
          <a:p>
            <a:endParaRPr lang="en-IN" dirty="0" smtClean="0"/>
          </a:p>
          <a:p>
            <a:r>
              <a:rPr lang="en-IN" dirty="0" smtClean="0"/>
              <a:t>Design Philosoph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Free and Open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Blazingly F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Distribu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Data Assurance</a:t>
            </a:r>
            <a:endParaRPr lang="en-IN" dirty="0"/>
          </a:p>
        </p:txBody>
      </p:sp>
      <p:pic>
        <p:nvPicPr>
          <p:cNvPr id="5" name="Picture 4" descr="https://git-scm.com/images/logos/downloads/Git-Logo-2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3803" y="2267718"/>
            <a:ext cx="2167840" cy="960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14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defTabSz="430213"/>
            <a:r>
              <a:rPr lang="en-IN" dirty="0">
                <a:solidFill>
                  <a:srgbClr val="000000"/>
                </a:solidFill>
              </a:rPr>
              <a:t>Classic </a:t>
            </a:r>
            <a:r>
              <a:rPr lang="en-IN" dirty="0" smtClean="0">
                <a:solidFill>
                  <a:srgbClr val="000000"/>
                </a:solidFill>
              </a:rPr>
              <a:t>Client-Server Workflow</a:t>
            </a:r>
            <a:endParaRPr lang="en-IN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969" y="1166556"/>
            <a:ext cx="6060108" cy="3051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47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Git’s</a:t>
            </a:r>
            <a:r>
              <a:rPr lang="en-US" dirty="0"/>
              <a:t> Flexible Workflow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13" y="1051538"/>
            <a:ext cx="7793684" cy="314045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277688" y="808032"/>
            <a:ext cx="23371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IN" sz="2000" b="1" dirty="0" smtClean="0">
                <a:solidFill>
                  <a:srgbClr val="000000"/>
                </a:solidFill>
                <a:cs typeface="HP Simplified" pitchFamily="34" charset="0"/>
              </a:rPr>
              <a:t>Typical Open Source</a:t>
            </a:r>
          </a:p>
        </p:txBody>
      </p:sp>
    </p:spTree>
    <p:extLst>
      <p:ext uri="{BB962C8B-B14F-4D97-AF65-F5344CB8AC3E}">
        <p14:creationId xmlns:p14="http://schemas.microsoft.com/office/powerpoint/2010/main" val="34093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rgbClr val="000000"/>
                </a:solidFill>
              </a:rPr>
              <a:t>LINUX </a:t>
            </a:r>
            <a:r>
              <a:rPr lang="en-IN" dirty="0" smtClean="0">
                <a:solidFill>
                  <a:srgbClr val="000000"/>
                </a:solidFill>
              </a:rPr>
              <a:t>Style </a:t>
            </a:r>
            <a:r>
              <a:rPr lang="en-US" dirty="0" smtClean="0"/>
              <a:t>Workflow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3" y="883086"/>
            <a:ext cx="6489145" cy="349859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498373" y="2585038"/>
            <a:ext cx="14205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IN" sz="2000" b="1" dirty="0" smtClean="0">
                <a:solidFill>
                  <a:srgbClr val="000000"/>
                </a:solidFill>
                <a:cs typeface="HP Simplified" pitchFamily="34" charset="0"/>
              </a:rPr>
              <a:t>LINUX Style</a:t>
            </a:r>
          </a:p>
        </p:txBody>
      </p:sp>
    </p:spTree>
    <p:extLst>
      <p:ext uri="{BB962C8B-B14F-4D97-AF65-F5344CB8AC3E}">
        <p14:creationId xmlns:p14="http://schemas.microsoft.com/office/powerpoint/2010/main" val="351779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it Repository Structure</a:t>
            </a:r>
          </a:p>
          <a:p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IN" sz="2000" dirty="0" smtClean="0"/>
              <a:t>A local </a:t>
            </a:r>
            <a:r>
              <a:rPr lang="en-IN" sz="2000" dirty="0"/>
              <a:t>repository consists of three </a:t>
            </a:r>
            <a:r>
              <a:rPr lang="en-IN" sz="2000" dirty="0" smtClean="0"/>
              <a:t>partitions </a:t>
            </a:r>
            <a:r>
              <a:rPr lang="en-IN" sz="2000" dirty="0"/>
              <a:t>maintained by </a:t>
            </a:r>
            <a:r>
              <a:rPr lang="en-IN" sz="2000" dirty="0" smtClean="0"/>
              <a:t>Git</a:t>
            </a:r>
            <a:r>
              <a:rPr lang="en-IN" sz="2000" dirty="0"/>
              <a:t>. </a:t>
            </a:r>
            <a:endParaRPr lang="en-IN" sz="2000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 smtClean="0"/>
              <a:t>The </a:t>
            </a:r>
            <a:r>
              <a:rPr lang="en-IN" sz="2000" dirty="0"/>
              <a:t>first one is </a:t>
            </a:r>
            <a:r>
              <a:rPr lang="en-IN" sz="2000" dirty="0" smtClean="0"/>
              <a:t>the </a:t>
            </a:r>
            <a:r>
              <a:rPr lang="en-IN" sz="2000" u="sng" dirty="0" smtClean="0"/>
              <a:t>WORKING DIRECTORY</a:t>
            </a:r>
            <a:r>
              <a:rPr lang="en-IN" sz="2000" dirty="0" smtClean="0"/>
              <a:t> </a:t>
            </a:r>
            <a:r>
              <a:rPr lang="en-IN" sz="2000" dirty="0"/>
              <a:t>which holds the actual files. </a:t>
            </a:r>
            <a:endParaRPr lang="en-IN" sz="2000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 smtClean="0"/>
              <a:t>The second </a:t>
            </a:r>
            <a:r>
              <a:rPr lang="en-IN" sz="2000" dirty="0"/>
              <a:t>one is the </a:t>
            </a:r>
            <a:r>
              <a:rPr lang="en-IN" sz="2000" u="sng" dirty="0" smtClean="0"/>
              <a:t>INDEX</a:t>
            </a:r>
            <a:r>
              <a:rPr lang="en-IN" sz="2000" dirty="0" smtClean="0"/>
              <a:t> which </a:t>
            </a:r>
            <a:r>
              <a:rPr lang="en-IN" sz="2000" dirty="0"/>
              <a:t>acts as a </a:t>
            </a:r>
            <a:r>
              <a:rPr lang="en-IN" sz="2000" u="sng" dirty="0" smtClean="0"/>
              <a:t>STAGING AREA</a:t>
            </a:r>
            <a:endParaRPr lang="en-IN" sz="2000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IN" sz="2000" dirty="0" smtClean="0"/>
              <a:t>Finally </a:t>
            </a:r>
            <a:r>
              <a:rPr lang="en-IN" sz="2000" dirty="0"/>
              <a:t>the </a:t>
            </a:r>
            <a:r>
              <a:rPr lang="en-IN" sz="2000" dirty="0" smtClean="0"/>
              <a:t>third one is the </a:t>
            </a:r>
            <a:r>
              <a:rPr lang="en-IN" sz="2000" u="sng" dirty="0" smtClean="0"/>
              <a:t>HEAD</a:t>
            </a:r>
            <a:r>
              <a:rPr lang="en-IN" sz="2000" dirty="0" smtClean="0"/>
              <a:t> </a:t>
            </a:r>
            <a:r>
              <a:rPr lang="en-IN" sz="2000" dirty="0"/>
              <a:t>which points to the last commit </a:t>
            </a:r>
            <a:r>
              <a:rPr lang="en-IN" sz="2000" dirty="0" smtClean="0"/>
              <a:t>made</a:t>
            </a:r>
            <a:r>
              <a:rPr lang="en-IN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7636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Know your instructor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966937" y="914400"/>
            <a:ext cx="696" cy="3085179"/>
          </a:xfrm>
          <a:prstGeom prst="line">
            <a:avLst/>
          </a:prstGeom>
          <a:ln w="28575" cmpd="sng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61055" y="3409674"/>
            <a:ext cx="2232375" cy="5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b="1" dirty="0" smtClean="0">
                <a:solidFill>
                  <a:schemeClr val="accent1"/>
                </a:solidFill>
                <a:latin typeface="Calibri" panose="020F0502020204030204" pitchFamily="34" charset="0"/>
                <a:cs typeface="HP Simplified" pitchFamily="34" charset="0"/>
              </a:rPr>
              <a:t>Prithviraj Bose</a:t>
            </a:r>
          </a:p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IIM</a:t>
            </a:r>
            <a:r>
              <a:rPr lang="en-US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- </a:t>
            </a: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ngalo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71585" y="723472"/>
            <a:ext cx="571677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200" dirty="0"/>
              <a:t>18 years of experience in Software </a:t>
            </a:r>
            <a:r>
              <a:rPr lang="en-IN" sz="1200" dirty="0" smtClean="0"/>
              <a:t>Development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200" dirty="0" smtClean="0"/>
              <a:t>Previously worked at Cisco, NDS Service Pay  TV technology &amp; </a:t>
            </a:r>
            <a:r>
              <a:rPr lang="en-IN" sz="1200" dirty="0" err="1" smtClean="0"/>
              <a:t>Wisor</a:t>
            </a:r>
            <a:r>
              <a:rPr lang="en-IN" sz="1200" dirty="0" smtClean="0"/>
              <a:t> Telecom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sz="1200" dirty="0"/>
              <a:t>One of the implementers of </a:t>
            </a:r>
            <a:r>
              <a:rPr lang="en-IN" sz="1200" dirty="0" err="1"/>
              <a:t>TataSky</a:t>
            </a:r>
            <a:r>
              <a:rPr lang="en-IN" sz="1200" dirty="0"/>
              <a:t>, Airtel and many other digital broadcast </a:t>
            </a:r>
            <a:r>
              <a:rPr lang="en-IN" sz="1200" dirty="0" smtClean="0"/>
              <a:t>solutions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urrently engaged in consulting and training in the areas of</a:t>
            </a:r>
          </a:p>
          <a:p>
            <a:pPr marL="628650" lvl="1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DD/ATTD, Emerging Design </a:t>
            </a:r>
            <a:r>
              <a:rPr lang="en-US" sz="1200" dirty="0" smtClean="0"/>
              <a:t>&amp; </a:t>
            </a:r>
            <a:r>
              <a:rPr lang="en-US" sz="1200" dirty="0"/>
              <a:t>Refactoring</a:t>
            </a:r>
          </a:p>
          <a:p>
            <a:pPr marL="628650" lvl="1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REST API Design</a:t>
            </a:r>
          </a:p>
          <a:p>
            <a:pPr marL="628650" lvl="1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err="1"/>
              <a:t>Elasticsearch</a:t>
            </a:r>
            <a:endParaRPr lang="en-US" sz="1200" dirty="0"/>
          </a:p>
          <a:p>
            <a:pPr marL="628650" lvl="1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Programming Languages: Java, C++, Python.</a:t>
            </a:r>
          </a:p>
          <a:p>
            <a:pPr marL="628650" lvl="1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oftware Design: Using patterns, SOLID </a:t>
            </a:r>
            <a:r>
              <a:rPr lang="en-US" sz="1200" dirty="0" smtClean="0"/>
              <a:t>principles</a:t>
            </a:r>
            <a:endParaRPr lang="en-IN" sz="1200" dirty="0" smtClean="0"/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IN" sz="1200" dirty="0" smtClean="0"/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42" y="1439693"/>
            <a:ext cx="1861087" cy="1861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8196" y="50800"/>
            <a:ext cx="7886700" cy="516428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+mj-lt"/>
                <a:ea typeface="+mj-ea"/>
                <a:cs typeface="HP Simplified" pitchFamily="34" charset="0"/>
              </a:defRPr>
            </a:lvl1pPr>
          </a:lstStyle>
          <a:p>
            <a:r>
              <a:rPr lang="en-US" dirty="0" smtClean="0"/>
              <a:t>Git Repository Structure</a:t>
            </a:r>
            <a:endParaRPr lang="en-US" dirty="0"/>
          </a:p>
        </p:txBody>
      </p:sp>
      <p:pic>
        <p:nvPicPr>
          <p:cNvPr id="6" name="Picture 2" descr="Index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38" y="904427"/>
            <a:ext cx="6511762" cy="3369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735779" y="2404448"/>
            <a:ext cx="26006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IN" sz="2000" b="1" dirty="0" smtClean="0">
                <a:solidFill>
                  <a:srgbClr val="C00000"/>
                </a:solidFill>
                <a:cs typeface="HP Simplified" pitchFamily="34" charset="0"/>
              </a:rPr>
              <a:t>&lt;- Why do I need this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735778" y="3673129"/>
            <a:ext cx="26006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IN" sz="2000" b="1" dirty="0" smtClean="0">
                <a:solidFill>
                  <a:srgbClr val="C00000"/>
                </a:solidFill>
                <a:cs typeface="HP Simplified" pitchFamily="34" charset="0"/>
              </a:rPr>
              <a:t>&lt;- Local Repository</a:t>
            </a:r>
          </a:p>
        </p:txBody>
      </p:sp>
    </p:spTree>
    <p:extLst>
      <p:ext uri="{BB962C8B-B14F-4D97-AF65-F5344CB8AC3E}">
        <p14:creationId xmlns:p14="http://schemas.microsoft.com/office/powerpoint/2010/main" val="77102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is GitHub?</a:t>
            </a:r>
            <a:endParaRPr lang="en-US" dirty="0"/>
          </a:p>
        </p:txBody>
      </p:sp>
      <p:graphicFrame>
        <p:nvGraphicFramePr>
          <p:cNvPr id="5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9562312"/>
              </p:ext>
            </p:extLst>
          </p:nvPr>
        </p:nvGraphicFramePr>
        <p:xfrm>
          <a:off x="73061" y="937231"/>
          <a:ext cx="8969339" cy="33391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348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A Typical Day with Git </a:t>
            </a:r>
            <a:r>
              <a:rPr lang="en-IN" smtClean="0"/>
              <a:t>&amp; GitHub</a:t>
            </a:r>
            <a:endParaRPr lang="en-IN" dirty="0"/>
          </a:p>
        </p:txBody>
      </p:sp>
      <p:grpSp>
        <p:nvGrpSpPr>
          <p:cNvPr id="12" name="Group 11"/>
          <p:cNvGrpSpPr/>
          <p:nvPr/>
        </p:nvGrpSpPr>
        <p:grpSpPr>
          <a:xfrm>
            <a:off x="332509" y="1066151"/>
            <a:ext cx="8146474" cy="3018448"/>
            <a:chOff x="332509" y="1066151"/>
            <a:chExt cx="8146474" cy="301844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2509" y="1066151"/>
              <a:ext cx="8146474" cy="3018448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1555668" y="1430749"/>
              <a:ext cx="10163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Branch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805361" y="3237809"/>
              <a:ext cx="11095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Commit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927505" y="3484015"/>
              <a:ext cx="22706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Submit Pull Request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955809" y="3267878"/>
              <a:ext cx="104458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Review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03412" y="3256002"/>
              <a:ext cx="10248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Deploy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7402513" y="3267878"/>
              <a:ext cx="9713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IN" b="1" dirty="0" smtClean="0">
                  <a:solidFill>
                    <a:srgbClr val="C00000"/>
                  </a:solidFill>
                </a:rPr>
                <a:t>&gt; Merge</a:t>
              </a:r>
              <a:endParaRPr lang="en-IN" b="1" dirty="0" smtClean="0">
                <a:solidFill>
                  <a:srgbClr val="000000"/>
                </a:solidFill>
                <a:cs typeface="HP Simplified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557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emo: GitHub GUI &amp; Shel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29" y="777625"/>
            <a:ext cx="8880285" cy="3825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45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IN" dirty="0" smtClean="0"/>
              <a:t>Sample Command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49382" y="1078430"/>
            <a:ext cx="8662843" cy="3191082"/>
          </a:xfrm>
        </p:spPr>
        <p:txBody>
          <a:bodyPr/>
          <a:lstStyle/>
          <a:p>
            <a:r>
              <a:rPr lang="en-IN" b="0" dirty="0" smtClean="0"/>
              <a:t># sync-</a:t>
            </a:r>
            <a:r>
              <a:rPr lang="en-IN" b="0" dirty="0" err="1" smtClean="0"/>
              <a:t>ing</a:t>
            </a:r>
            <a:r>
              <a:rPr lang="en-IN" b="0" dirty="0" smtClean="0"/>
              <a:t> the local from remote </a:t>
            </a:r>
            <a:r>
              <a:rPr lang="en-IN" b="0" dirty="0" err="1"/>
              <a:t>Github</a:t>
            </a:r>
            <a:r>
              <a:rPr lang="en-IN" b="0" dirty="0"/>
              <a:t> </a:t>
            </a:r>
            <a:r>
              <a:rPr lang="en-IN" b="0" dirty="0" smtClean="0"/>
              <a:t>repo</a:t>
            </a:r>
          </a:p>
          <a:p>
            <a:r>
              <a:rPr lang="en-IN" dirty="0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git pull https://github.com/prithvirajbose/jws.git</a:t>
            </a:r>
          </a:p>
          <a:p>
            <a:endParaRPr lang="en-IN" b="0" dirty="0" smtClean="0"/>
          </a:p>
          <a:p>
            <a:r>
              <a:rPr lang="en-IN" b="0" dirty="0" smtClean="0"/>
              <a:t># adding to staging area</a:t>
            </a:r>
            <a:endParaRPr lang="en-IN" b="0" dirty="0"/>
          </a:p>
          <a:p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IN" dirty="0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t </a:t>
            </a:r>
            <a:r>
              <a:rPr lang="en-IN" dirty="0" err="1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endParaRPr lang="en-IN" dirty="0">
              <a:solidFill>
                <a:srgbClr val="00206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IN" dirty="0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t </a:t>
            </a:r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 *</a:t>
            </a:r>
          </a:p>
          <a:p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en-IN" dirty="0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it </a:t>
            </a:r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mit -</a:t>
            </a:r>
            <a:r>
              <a:rPr lang="en-IN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 </a:t>
            </a:r>
            <a:r>
              <a:rPr lang="en-IN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v1.0"</a:t>
            </a:r>
            <a:endParaRPr lang="en-IN" dirty="0">
              <a:solidFill>
                <a:srgbClr val="00206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IN" b="0" dirty="0" smtClean="0"/>
          </a:p>
          <a:p>
            <a:r>
              <a:rPr lang="en-IN" b="0" dirty="0" smtClean="0"/>
              <a:t># push to remote </a:t>
            </a:r>
            <a:r>
              <a:rPr lang="en-IN" b="0" dirty="0" err="1" smtClean="0"/>
              <a:t>Github</a:t>
            </a:r>
            <a:r>
              <a:rPr lang="en-IN" b="0" dirty="0" smtClean="0"/>
              <a:t> repo</a:t>
            </a:r>
            <a:endParaRPr lang="en-IN" b="0" dirty="0"/>
          </a:p>
          <a:p>
            <a:r>
              <a:rPr lang="en-IN" dirty="0" smtClean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git </a:t>
            </a:r>
            <a:r>
              <a:rPr lang="en-IN" dirty="0">
                <a:solidFill>
                  <a:srgbClr val="00206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sh -u origin master</a:t>
            </a:r>
          </a:p>
        </p:txBody>
      </p:sp>
    </p:spTree>
    <p:extLst>
      <p:ext uri="{BB962C8B-B14F-4D97-AF65-F5344CB8AC3E}">
        <p14:creationId xmlns:p14="http://schemas.microsoft.com/office/powerpoint/2010/main" val="161551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urse Details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5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urse Detail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09319" y="969822"/>
            <a:ext cx="33052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Get Certified in Git and GitHub by Edureka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6" name="Round Diagonal Corner Rectangle 5"/>
          <p:cNvSpPr/>
          <p:nvPr/>
        </p:nvSpPr>
        <p:spPr>
          <a:xfrm>
            <a:off x="368132" y="2520984"/>
            <a:ext cx="8407730" cy="1709923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Git &amp; GitHub 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ecome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a Git &amp; GitHub expert by mastering concepts like Branches, Design and Git work flow by using Git Command Line, GitHub Desktop and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SourceTree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24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25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11414" y="1460084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git-github 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86939" y="2118251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7 October (Weekend Batch)</a:t>
            </a:r>
          </a:p>
        </p:txBody>
      </p:sp>
      <p:pic>
        <p:nvPicPr>
          <p:cNvPr id="9" name="Picture 8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96061" y="796563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060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oday’s Top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01586" y="1276278"/>
            <a:ext cx="5052483" cy="1325723"/>
          </a:xfrm>
        </p:spPr>
        <p:txBody>
          <a:bodyPr/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y Version Control Systems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Traditional Version Control Systems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y Git?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What is GitHub?</a:t>
            </a:r>
            <a:endParaRPr lang="en-US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Git Shell &amp; GitHub UI Dem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ea typeface="Tahoma" panose="020B0604030504040204" pitchFamily="34" charset="0"/>
                <a:cs typeface="Tahoma" panose="020B0604030504040204" pitchFamily="34" charset="0"/>
              </a:rPr>
              <a:t>Hands-On with Git &amp; GitHub</a:t>
            </a:r>
          </a:p>
        </p:txBody>
      </p:sp>
      <p:sp>
        <p:nvSpPr>
          <p:cNvPr id="5" name="Oval 4"/>
          <p:cNvSpPr/>
          <p:nvPr/>
        </p:nvSpPr>
        <p:spPr>
          <a:xfrm>
            <a:off x="6349430" y="1185810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470" y="1284897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366" y="2155310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671" y="2155309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470" y="298368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101"/>
          <p:cNvGrpSpPr>
            <a:grpSpLocks/>
          </p:cNvGrpSpPr>
          <p:nvPr/>
        </p:nvGrpSpPr>
        <p:grpSpPr>
          <a:xfrm>
            <a:off x="7304206" y="2039688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1" name="Group 1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3" name="Freeform 1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val 14"/>
          <p:cNvSpPr/>
          <p:nvPr/>
        </p:nvSpPr>
        <p:spPr>
          <a:xfrm>
            <a:off x="6278175" y="1105097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8743" y="2153090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99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e all have done it – Isn’t It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9559" y="864790"/>
            <a:ext cx="2812415" cy="3570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9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e all have done it – Isn’t It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353" y="1935982"/>
            <a:ext cx="8076570" cy="129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e all have done it – Isn’t It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658510" y="2177655"/>
            <a:ext cx="6639184" cy="808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sz="2000" dirty="0" smtClean="0">
                <a:solidFill>
                  <a:srgbClr val="00B0F0"/>
                </a:solidFill>
              </a:rPr>
              <a:t>Because we were not told about Version Control System</a:t>
            </a:r>
            <a:endParaRPr lang="en-IN" sz="20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0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438775" y="4611000"/>
            <a:ext cx="3473450" cy="2889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Version Control System</a:t>
            </a:r>
            <a:endParaRPr lang="en-US" sz="6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03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Version Control System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367794" y="1998525"/>
            <a:ext cx="8406555" cy="980577"/>
            <a:chOff x="18041" y="523673"/>
            <a:chExt cx="6477856" cy="327016"/>
          </a:xfrm>
        </p:grpSpPr>
        <p:sp>
          <p:nvSpPr>
            <p:cNvPr id="6" name="Rounded Rectangle 5"/>
            <p:cNvSpPr/>
            <p:nvPr/>
          </p:nvSpPr>
          <p:spPr>
            <a:xfrm>
              <a:off x="18041" y="523673"/>
              <a:ext cx="6477856" cy="32701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ounded Rectangle 4"/>
            <p:cNvSpPr/>
            <p:nvPr/>
          </p:nvSpPr>
          <p:spPr>
            <a:xfrm>
              <a:off x="23200" y="551106"/>
              <a:ext cx="6431456" cy="2784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r>
                <a:rPr lang="en-US" sz="2400" dirty="0">
                  <a:ea typeface="Tahoma" panose="020B0604030504040204" pitchFamily="34" charset="0"/>
                  <a:cs typeface="Tahoma" panose="020B0604030504040204" pitchFamily="34" charset="0"/>
                </a:rPr>
                <a:t>Version control </a:t>
              </a:r>
              <a:r>
                <a:rPr lang="en-US" sz="2400" dirty="0" smtClean="0">
                  <a:ea typeface="Tahoma" panose="020B0604030504040204" pitchFamily="34" charset="0"/>
                  <a:cs typeface="Tahoma" panose="020B0604030504040204" pitchFamily="34" charset="0"/>
                </a:rPr>
                <a:t>systems are softwares that manage changes to files e.g. documents, images, code, basically everything </a:t>
              </a:r>
              <a:endParaRPr lang="en-US" sz="2400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98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at you get from a Version Control system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718771" y="1205912"/>
            <a:ext cx="6614865" cy="2006750"/>
          </a:xfrm>
        </p:spPr>
        <p:txBody>
          <a:bodyPr/>
          <a:lstStyle/>
          <a:p>
            <a:endParaRPr lang="en-US" sz="1600" u="sng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ea typeface="Tahoma" panose="020B0604030504040204" pitchFamily="34" charset="0"/>
                <a:cs typeface="Tahoma" panose="020B0604030504040204" pitchFamily="34" charset="0"/>
              </a:rPr>
              <a:t>Saves you from creating multiple backups of your 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ea typeface="Tahoma" panose="020B0604030504040204" pitchFamily="34" charset="0"/>
                <a:cs typeface="Tahoma" panose="020B0604030504040204" pitchFamily="34" charset="0"/>
              </a:rPr>
              <a:t>Allows multiple people to work on same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ea typeface="Tahoma" panose="020B0604030504040204" pitchFamily="34" charset="0"/>
                <a:cs typeface="Tahoma" panose="020B0604030504040204" pitchFamily="34" charset="0"/>
              </a:rPr>
              <a:t>Tracks changes and also who have made those changes</a:t>
            </a:r>
            <a:endParaRPr lang="en-US" sz="1600" b="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ea typeface="Tahoma" panose="020B0604030504040204" pitchFamily="34" charset="0"/>
                <a:cs typeface="Tahoma" panose="020B0604030504040204" pitchFamily="34" charset="0"/>
              </a:rPr>
              <a:t>Easy to switch back to older versions as and when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>
                <a:ea typeface="Tahoma" panose="020B0604030504040204" pitchFamily="34" charset="0"/>
                <a:cs typeface="Tahoma" panose="020B0604030504040204" pitchFamily="34" charset="0"/>
              </a:rPr>
              <a:t>Makes you more produc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3918" y="1011677"/>
            <a:ext cx="75754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dirty="0" smtClean="0">
                <a:solidFill>
                  <a:srgbClr val="000000"/>
                </a:solidFill>
                <a:cs typeface="HP Simplified" pitchFamily="34" charset="0"/>
              </a:rPr>
              <a:t>Some of the major benefits of using a Version Control System are listed below :</a:t>
            </a:r>
          </a:p>
        </p:txBody>
      </p:sp>
    </p:spTree>
    <p:extLst>
      <p:ext uri="{BB962C8B-B14F-4D97-AF65-F5344CB8AC3E}">
        <p14:creationId xmlns:p14="http://schemas.microsoft.com/office/powerpoint/2010/main" val="336451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1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err="1" smtClean="0">
            <a:solidFill>
              <a:srgbClr val="000000"/>
            </a:solidFill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FEF3ECC3-917D-446F-BEF5-E72B18F60BC7}"/>
    </a:ext>
  </a:extLst>
</a:theme>
</file>

<file path=ppt/theme/theme2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0015F941-E9FD-4CAA-AFA0-E65D8BF27FB0}"/>
    </a:ext>
  </a:extLst>
</a:theme>
</file>

<file path=ppt/theme/theme3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DEAE102A-4C22-46DF-993C-9D680011CC54}"/>
    </a:ext>
  </a:extLst>
</a:theme>
</file>

<file path=ppt/theme/theme4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 Template_draft" id="{957F4146-F5AB-4E0E-82D2-073AEC3111DC}" vid="{A6D0AC9E-56AA-4570-A7ED-930DBCE09879}"/>
    </a:ext>
  </a:extLst>
</a:theme>
</file>

<file path=ppt/theme/theme5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416</TotalTime>
  <Words>689</Words>
  <Application>Microsoft Office PowerPoint</Application>
  <PresentationFormat>On-screen Show (16:9)</PresentationFormat>
  <Paragraphs>130</Paragraphs>
  <Slides>2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Calibri</vt:lpstr>
      <vt:lpstr>Courier New</vt:lpstr>
      <vt:lpstr>Wingdings</vt:lpstr>
      <vt:lpstr>Futura Hv</vt:lpstr>
      <vt:lpstr>Lucida Grande</vt:lpstr>
      <vt:lpstr>Arial</vt:lpstr>
      <vt:lpstr>Tahoma</vt:lpstr>
      <vt:lpstr>HP Simplified</vt:lpstr>
      <vt:lpstr>Futura Bk</vt:lpstr>
      <vt:lpstr>HP_PPT_Standard_16x9</vt:lpstr>
      <vt:lpstr>1_HP_PPT_Standard_16x9</vt:lpstr>
      <vt:lpstr>2_HP_PPT_Standard_16x9</vt:lpstr>
      <vt:lpstr>3_HP_PPT_Standard_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ja Gupta</dc:creator>
  <cp:lastModifiedBy>Mahtab Alam</cp:lastModifiedBy>
  <cp:revision>133</cp:revision>
  <cp:lastPrinted>2012-04-13T15:38:33Z</cp:lastPrinted>
  <dcterms:created xsi:type="dcterms:W3CDTF">2012-05-02T14:03:12Z</dcterms:created>
  <dcterms:modified xsi:type="dcterms:W3CDTF">2015-10-14T06:04:11Z</dcterms:modified>
</cp:coreProperties>
</file>